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4"/>
  </p:notesMasterIdLst>
  <p:handoutMasterIdLst>
    <p:handoutMasterId r:id="rId5"/>
  </p:handoutMasterIdLst>
  <p:sldIdLst>
    <p:sldId id="278" r:id="rId2"/>
    <p:sldId id="279" r:id="rId3"/>
  </p:sldIdLst>
  <p:sldSz cx="12192000" cy="6858000"/>
  <p:notesSz cx="7023100" cy="93091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3A42"/>
    <a:srgbClr val="FE8A12"/>
    <a:srgbClr val="3F5765"/>
    <a:srgbClr val="FF530D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163" autoAdjust="0"/>
  </p:normalViewPr>
  <p:slideViewPr>
    <p:cSldViewPr snapToGrid="0">
      <p:cViewPr varScale="1">
        <p:scale>
          <a:sx n="114" d="100"/>
          <a:sy n="114" d="100"/>
        </p:scale>
        <p:origin x="474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 snapToGrid="0"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059186189889025E-2"/>
          <c:y val="2.4401689347724072E-2"/>
          <c:w val="0.93588162762022198"/>
          <c:h val="0.951196621304551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5587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1932730.779573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59-49E3-9D79-8AA812392FAE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868518.938667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59-49E3-9D79-8AA812392F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889997600"/>
        <c:axId val="1"/>
      </c:barChart>
      <c:catAx>
        <c:axId val="889997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801249.718241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889997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1437908496732E-2"/>
          <c:y val="2.61437908496732E-2"/>
          <c:w val="0.94771241830065345"/>
          <c:h val="0.9477124183006534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F576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475-475E-B355-372EB1DA8924}"/>
              </c:ext>
            </c:extLst>
          </c:dPt>
          <c:dPt>
            <c:idx val="1"/>
            <c:bubble3D val="0"/>
            <c:spPr>
              <a:solidFill>
                <a:srgbClr val="02722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475-475E-B355-372EB1DA8924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475-475E-B355-372EB1DA892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475-475E-B355-372EB1DA8924}"/>
              </c:ext>
            </c:extLst>
          </c:dPt>
          <c:val>
            <c:numRef>
              <c:f>Sheet1!$A$1:$A$4</c:f>
              <c:numCache>
                <c:formatCode>General</c:formatCode>
                <c:ptCount val="4"/>
                <c:pt idx="0">
                  <c:v>1.627039500796934</c:v>
                </c:pt>
                <c:pt idx="1">
                  <c:v>77.097244801432694</c:v>
                </c:pt>
                <c:pt idx="2">
                  <c:v>5.1257987911685632</c:v>
                </c:pt>
                <c:pt idx="3">
                  <c:v>16.1499169066018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475-475E-B355-372EB1DA89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84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2059186189889025E-2"/>
          <c:y val="2.4401689347724072E-2"/>
          <c:w val="0.93588162762022198"/>
          <c:h val="0.9511966213045518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5587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065636.068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E2-478A-B760-ED32C5ADA326}"/>
            </c:ext>
          </c:extLst>
        </c:ser>
        <c:ser>
          <c:idx val="1"/>
          <c:order val="1"/>
          <c:spPr>
            <a:solidFill>
              <a:srgbClr val="00A3E0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69524.849352000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E2-478A-B760-ED32C5ADA3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673881720"/>
        <c:axId val="1"/>
      </c:barChart>
      <c:catAx>
        <c:axId val="673881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35160.918338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6738817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1437908496732E-2"/>
          <c:y val="2.61437908496732E-2"/>
          <c:w val="0.94771241830065345"/>
          <c:h val="0.9477124183006534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F576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00D-4F2E-B2CF-B978BC677D39}"/>
              </c:ext>
            </c:extLst>
          </c:dPt>
          <c:dPt>
            <c:idx val="1"/>
            <c:bubble3D val="0"/>
            <c:spPr>
              <a:solidFill>
                <a:srgbClr val="02722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00D-4F2E-B2CF-B978BC677D39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00D-4F2E-B2CF-B978BC677D3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00D-4F2E-B2CF-B978BC677D39}"/>
              </c:ext>
            </c:extLst>
          </c:dPt>
          <c:val>
            <c:numRef>
              <c:f>Sheet1!$A$1:$A$4</c:f>
              <c:numCache>
                <c:formatCode>General</c:formatCode>
                <c:ptCount val="4"/>
                <c:pt idx="0">
                  <c:v>1.5459036377365651</c:v>
                </c:pt>
                <c:pt idx="1">
                  <c:v>79.408583621556133</c:v>
                </c:pt>
                <c:pt idx="2">
                  <c:v>4.9771791281644902</c:v>
                </c:pt>
                <c:pt idx="3">
                  <c:v>14.068333612542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0D-4F2E-B2CF-B978BC677D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84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6/25/2019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Nr.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6/2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295650" y="6577013"/>
            <a:ext cx="3613150" cy="20335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2B569-2F9F-D440-B547-B789863526A0}" type="slidenum">
              <a:rPr lang="de-DE" smtClean="0">
                <a:cs typeface="Arial"/>
              </a:rPr>
              <a:pPr/>
              <a:t>0</a:t>
            </a:fld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506841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295650" y="6577013"/>
            <a:ext cx="3613150" cy="20335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92B569-2F9F-D440-B547-B789863526A0}" type="slidenum">
              <a:rPr lang="de-DE" smtClean="0">
                <a:cs typeface="Arial"/>
              </a:rPr>
              <a:pPr/>
              <a:t>1</a:t>
            </a:fld>
            <a:endParaRPr lang="de-D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50585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2B60DCD-3EEC-4276-881E-4CDE3BB86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6842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36432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560342" y="6675581"/>
            <a:ext cx="474133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122663"/>
            <a:ext cx="11131296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063" y="1004285"/>
            <a:ext cx="11131296" cy="332399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979033" y="6474690"/>
            <a:ext cx="841248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/>
              <a:t>© 2017, QuintilesIMS (IMS HEALTH GmbH &amp; Co. OHG)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78385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FC15EF5-3ED1-4690-A904-F102699A9F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2704388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21" imgW="216" imgH="216" progId="TCLayout.ActiveDocument.1">
                  <p:embed/>
                </p:oleObj>
              </mc:Choice>
              <mc:Fallback>
                <p:oleObj name="think-cell Folie" r:id="rId2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Layout" Target="../slideLayouts/slideLayout10.xml"/><Relationship Id="rId3" Type="http://schemas.openxmlformats.org/officeDocument/2006/relationships/tags" Target="../tags/tag6.xml"/><Relationship Id="rId21" Type="http://schemas.openxmlformats.org/officeDocument/2006/relationships/image" Target="../media/image1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chart" Target="../charts/chart2.xml"/><Relationship Id="rId10" Type="http://schemas.openxmlformats.org/officeDocument/2006/relationships/tags" Target="../tags/tag13.xml"/><Relationship Id="rId19" Type="http://schemas.openxmlformats.org/officeDocument/2006/relationships/notesSlide" Target="../notesSlides/notesSlide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slideLayout" Target="../slideLayouts/slideLayout10.xml"/><Relationship Id="rId3" Type="http://schemas.openxmlformats.org/officeDocument/2006/relationships/tags" Target="../tags/tag22.xml"/><Relationship Id="rId21" Type="http://schemas.openxmlformats.org/officeDocument/2006/relationships/image" Target="../media/image1.emf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chart" Target="../charts/chart4.xml"/><Relationship Id="rId10" Type="http://schemas.openxmlformats.org/officeDocument/2006/relationships/tags" Target="../tags/tag29.xml"/><Relationship Id="rId19" Type="http://schemas.openxmlformats.org/officeDocument/2006/relationships/notesSlide" Target="../notesSlides/notesSlide2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841948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hteck 37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sz="1600" dirty="0"/>
              <a:t>Jahr 2018: OTC-Markt Apotheke (OTC-Arznei-/Gesundheitsmittel, Apothekenkosmetik, Medizinischer Sachbedarf, Ernährung), Umsatz zu effektiven Verkaufspreisen </a:t>
            </a:r>
            <a:br>
              <a:rPr lang="de-DE" sz="1600" dirty="0"/>
            </a:br>
            <a:endParaRPr lang="de-DE" sz="1600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1800" dirty="0"/>
              <a:t>Abbildung 1: Umsatzsteigerung des Apotheken-Versandhandels mit rezeptfreien Produkten im höheren einstelligen Bereich</a:t>
            </a:r>
          </a:p>
        </p:txBody>
      </p:sp>
      <p:sp>
        <p:nvSpPr>
          <p:cNvPr id="40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© 2019, IQVIA Commercial GmbH &amp; Co. OHG</a:t>
            </a: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384693" y="5858029"/>
            <a:ext cx="8780190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Quelle: IQVIA Apothekenstichprobe und Hochrechnung/Projektion, </a:t>
            </a:r>
            <a:r>
              <a:rPr lang="de-DE" sz="1000" dirty="0">
                <a:latin typeface="Arial" pitchFamily="34" charset="0"/>
                <a:cs typeface="Arial" pitchFamily="34" charset="0"/>
                <a:sym typeface="Arial"/>
              </a:rPr>
              <a:t>IMS</a:t>
            </a:r>
            <a:r>
              <a:rPr lang="de-DE" sz="1000" baseline="30000" dirty="0">
                <a:latin typeface="Arial" pitchFamily="34" charset="0"/>
                <a:cs typeface="Arial" pitchFamily="34" charset="0"/>
                <a:sym typeface="Arial"/>
              </a:rPr>
              <a:t>®</a:t>
            </a:r>
            <a:r>
              <a:rPr lang="de-DE" sz="1000" dirty="0">
                <a:latin typeface="Arial" pitchFamily="34" charset="0"/>
                <a:cs typeface="Arial" pitchFamily="34" charset="0"/>
                <a:sym typeface="Arial"/>
              </a:rPr>
              <a:t> </a:t>
            </a:r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onsumer Health Analytics, Cube 2330</a:t>
            </a:r>
            <a:b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</a:br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* OTC = </a:t>
            </a:r>
            <a:r>
              <a:rPr lang="de-DE" sz="1000" dirty="0" err="1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over</a:t>
            </a:r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ounter</a:t>
            </a:r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= rezeptfrei / hier inkl. Nichtarzneimittel (OTCGMS, PEC, PAC, Nutrition)</a:t>
            </a:r>
            <a:endParaRPr lang="en-US" sz="10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endParaRPr lang="de-DE" sz="10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37" name="Chart 3">
            <a:extLst>
              <a:ext uri="{FF2B5EF4-FFF2-40B4-BE49-F238E27FC236}">
                <a16:creationId xmlns:a16="http://schemas.microsoft.com/office/drawing/2014/main" id="{1AD567D9-0C25-4F23-9E62-6E8DC39A037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90294038"/>
              </p:ext>
            </p:extLst>
          </p:nvPr>
        </p:nvGraphicFramePr>
        <p:xfrm>
          <a:off x="2171700" y="2411413"/>
          <a:ext cx="2574925" cy="3382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8" name="Rechteck 1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168649" y="4213225"/>
            <a:ext cx="5794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43453E6E-EEBC-42FF-BE03-35E59F0F221B}" type="datetime'''''''''11''.''9''''3''''''''''3''''''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</a:rPr>
              <a:pPr algn="ctr" eaLnBrk="0" hangingPunct="0"/>
              <a:t>11.933</a:t>
            </a:fld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9" name="Rechteck 1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211513" y="2605088"/>
            <a:ext cx="493713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4D6C16F6-E6D8-4F3D-ACA6-76C529BBDE7F}" type="datetime'''1''''.''''''''''''''''86''''''''''''''9'''''">
              <a:rPr lang="en-US" altLang="en-US" sz="1400" smtClean="0">
                <a:solidFill>
                  <a:srgbClr val="FFFFFF"/>
                </a:solidFill>
                <a:cs typeface="Arial" panose="020B0604020202020204" pitchFamily="34" charset="0"/>
              </a:rPr>
              <a:pPr algn="ctr" eaLnBrk="0" hangingPunct="0"/>
              <a:t>1.869</a:t>
            </a:fld>
            <a:endParaRPr lang="de-DE" sz="1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6" name="Rechteck 1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28712" y="2605088"/>
            <a:ext cx="118268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A45A11B8-D5CB-45A3-8CE0-B314DBE788D7}" type="datetime'''''Versa''n''d''h''''''''''''''''''''''an''d''''''el'">
              <a:rPr lang="en-US" sz="1400">
                <a:latin typeface="Arial"/>
                <a:cs typeface="Arial"/>
                <a:sym typeface="Arial"/>
              </a:rPr>
              <a:pPr algn="r" eaLnBrk="0" hangingPunct="0"/>
              <a:t>Versandhandel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15" name="Rechteck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811338" y="4213225"/>
            <a:ext cx="500063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6011B806-8ADE-489E-8136-6D55A21777E3}" type="datetime'''''''''''O''''f''''f''i''''z''''''''''i''''''''''n'''''">
              <a:rPr lang="en-US" sz="1400">
                <a:latin typeface="Arial"/>
                <a:cs typeface="Arial"/>
                <a:sym typeface="Arial"/>
              </a:rPr>
              <a:pPr algn="r" eaLnBrk="0" hangingPunct="0"/>
              <a:t>Offizin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17" name="Rechteck 2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62299" y="2255838"/>
            <a:ext cx="59213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hangingPunct="0"/>
            <a:fld id="{C94DED8E-D425-4264-A80F-1EE59797F806}" type="datetime'''''''''1''3''''''''''''''''''''''''''''''''.''''''''8''0''1'">
              <a:rPr lang="en-US" altLang="en-US" sz="1400" b="1" smtClean="0">
                <a:cs typeface="Arial" panose="020B0604020202020204" pitchFamily="34" charset="0"/>
              </a:rPr>
              <a:pPr algn="ctr" eaLnBrk="0" hangingPunct="0"/>
              <a:t>13.801</a:t>
            </a:fld>
            <a:endParaRPr lang="de-DE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1" name="Chart 3">
            <a:extLst>
              <a:ext uri="{FF2B5EF4-FFF2-40B4-BE49-F238E27FC236}">
                <a16:creationId xmlns:a16="http://schemas.microsoft.com/office/drawing/2014/main" id="{1CE55F70-53A8-413A-B7DB-EF89A1A8ED21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13825175"/>
              </p:ext>
            </p:extLst>
          </p:nvPr>
        </p:nvGraphicFramePr>
        <p:xfrm>
          <a:off x="5789613" y="2543175"/>
          <a:ext cx="3157537" cy="3157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0" name="Rechteck 3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259763" y="3848100"/>
            <a:ext cx="592138" cy="425450"/>
          </a:xfrm>
          <a:prstGeom prst="rect">
            <a:avLst/>
          </a:prstGeom>
          <a:solidFill>
            <a:srgbClr val="3F5765"/>
          </a:solidFill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5155D9CD-4444-4AAD-A577-C9F386E983A4}" type="datetime'''''''3''0''''''.''''''''4''''''''''''''''''02'''''''''">
              <a:rPr lang="en-US" altLang="en-US" sz="1400" smtClean="0">
                <a:solidFill>
                  <a:srgbClr val="FFFFFF"/>
                </a:solidFill>
                <a:cs typeface="Arial" panose="020B0604020202020204" pitchFamily="34" charset="0"/>
              </a:rPr>
              <a:pPr algn="ctr" eaLnBrk="0" hangingPunct="0"/>
              <a:t>30.402</a:t>
            </a:fld>
            <a:endParaRPr lang="de-DE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(</a:t>
            </a:r>
            <a:fld id="{E83B58F4-50BE-4730-A0E4-B0B5B6149BB9}" type="datetime'''''''''''''''''''''2%'''''''''''">
              <a:rPr lang="en-US" sz="1400">
                <a:solidFill>
                  <a:srgbClr val="FFFFFF"/>
                </a:solidFill>
                <a:latin typeface="Arial"/>
                <a:cs typeface="Arial"/>
                <a:sym typeface="Arial"/>
              </a:rPr>
              <a:pPr algn="ctr" eaLnBrk="0" hangingPunct="0"/>
              <a:t>2%</a:t>
            </a:fld>
            <a:r>
              <a:rPr lang="de-DE" sz="140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)</a:t>
            </a:r>
          </a:p>
        </p:txBody>
      </p:sp>
      <p:sp>
        <p:nvSpPr>
          <p:cNvPr id="29" name="Rechteck 2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912225" y="3848100"/>
            <a:ext cx="82708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E8153F22-2526-408A-AF3D-4C6BCF55B7AD}" type="datetime'E''r''''''''''n''''''''''''''''''''''ähr''''''un''''''''''''g'">
              <a:rPr lang="en-US" sz="1400">
                <a:latin typeface="Arial"/>
                <a:cs typeface="Arial"/>
                <a:sym typeface="Arial"/>
              </a:rPr>
              <a:pPr eaLnBrk="0" hangingPunct="0"/>
              <a:t>Ernährung</a:t>
            </a:fld>
            <a:endParaRPr lang="de-DE" sz="1400">
              <a:latin typeface="Arial"/>
              <a:cs typeface="Arial"/>
              <a:sym typeface="Arial"/>
            </a:endParaRPr>
          </a:p>
        </p:txBody>
      </p:sp>
      <p:sp>
        <p:nvSpPr>
          <p:cNvPr id="24" name="Rechteck 3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7415212" y="2770188"/>
            <a:ext cx="592138" cy="425450"/>
          </a:xfrm>
          <a:prstGeom prst="rect">
            <a:avLst/>
          </a:prstGeom>
          <a:solidFill>
            <a:schemeClr val="accent6"/>
          </a:solidFill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0C4A328B-1242-4C5F-BFF2-3621E8480302}" type="datetime'''''9''''''''''''''''''''5''.''''''''7''''7''7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</a:rPr>
              <a:pPr algn="ctr" eaLnBrk="0" hangingPunct="0"/>
              <a:t>95.777</a:t>
            </a:fld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DCAFC6B5-F01D-4CBA-B31B-D22711BC9350}" type="datetime'5''''''''''''''''''''''''''''''%''''''''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/>
              <a:t>5%</a:t>
            </a:fld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" name="Rechteck 34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6162675" y="4597400"/>
            <a:ext cx="838200" cy="4254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5D86C728-E84D-48DD-A2B2-51B70D4C9730}" type="datetime'''''''''''1''.''''4''''4''''0''''''''.57''7''''''''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</a:rPr>
              <a:pPr algn="ctr" eaLnBrk="0" hangingPunct="0"/>
              <a:t>1.440.577</a:t>
            </a:fld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AD237DC1-6564-48DA-A08E-524889E4F850}" type="datetime'''''''''''''''''''''''''''''7''''''''''''7''''%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/>
              <a:t>77%</a:t>
            </a:fld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</a:p>
        </p:txBody>
      </p:sp>
      <p:sp>
        <p:nvSpPr>
          <p:cNvPr id="23" name="Rechteck 3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475538" y="2390775"/>
            <a:ext cx="13493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048743C6-2633-46A0-A135-0E1C93EE30BE}" type="datetime'''''''M''''e''''d.'' S''''''''''''''''''''achb''''''ed''arf'''">
              <a:rPr lang="en-US" sz="1400">
                <a:latin typeface="Arial"/>
                <a:cs typeface="Arial"/>
                <a:sym typeface="Arial"/>
              </a:rPr>
              <a:pPr eaLnBrk="0" hangingPunct="0"/>
              <a:t>Med. Sachbedarf</a:t>
            </a:fld>
            <a:endParaRPr lang="de-DE" sz="1400">
              <a:latin typeface="Arial"/>
              <a:cs typeface="Arial"/>
              <a:sym typeface="Arial"/>
            </a:endParaRPr>
          </a:p>
        </p:txBody>
      </p:sp>
      <p:sp>
        <p:nvSpPr>
          <p:cNvPr id="22" name="Rechteck 3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7924800" y="3278188"/>
            <a:ext cx="690563" cy="4254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8D661CEF-0478-4DDD-AD83-51A14C1F098A}" type="datetime'''''''''''3''''''''''0''''''''''''''1''.''''764''''''''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</a:rPr>
              <a:pPr algn="ctr" eaLnBrk="0" hangingPunct="0"/>
              <a:t>301.764</a:t>
            </a:fld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CE0D1F8A-1691-4F1E-B96F-0B2B8E5583E5}" type="datetime'''''''''''1''''''''''''''''''''''''''''''''''''''''''6''%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/>
              <a:t>16%</a:t>
            </a:fld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" name="Rechteck 3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415338" y="2798763"/>
            <a:ext cx="19462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9177D113-F6C3-4CD4-9D91-5D07DB748922}" type="datetime'''Kosm''e''ti''k +'''' Kö''''rpe''''''r''''''pf''''le''ge'">
              <a:rPr lang="en-US" sz="1400">
                <a:latin typeface="Arial"/>
                <a:cs typeface="Arial"/>
                <a:sym typeface="Arial"/>
              </a:rPr>
              <a:pPr eaLnBrk="0" hangingPunct="0"/>
              <a:t>Kosmetik + Körperpflege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cxnSp>
        <p:nvCxnSpPr>
          <p:cNvPr id="32" name="Gerade Verbindung 41"/>
          <p:cNvCxnSpPr>
            <a:cxnSpLocks noChangeShapeType="1"/>
          </p:cNvCxnSpPr>
          <p:nvPr/>
        </p:nvCxnSpPr>
        <p:spPr bwMode="auto">
          <a:xfrm>
            <a:off x="4460371" y="2917276"/>
            <a:ext cx="1719494" cy="2095816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33" name="Gerade Verbindung 28"/>
          <p:cNvCxnSpPr>
            <a:cxnSpLocks noChangeShapeType="1"/>
          </p:cNvCxnSpPr>
          <p:nvPr/>
        </p:nvCxnSpPr>
        <p:spPr bwMode="auto">
          <a:xfrm>
            <a:off x="4460371" y="2495845"/>
            <a:ext cx="2787758" cy="141067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4" name="Textfeld 27"/>
          <p:cNvSpPr txBox="1">
            <a:spLocks noChangeArrowheads="1"/>
          </p:cNvSpPr>
          <p:nvPr/>
        </p:nvSpPr>
        <p:spPr bwMode="auto">
          <a:xfrm>
            <a:off x="1507958" y="2799033"/>
            <a:ext cx="8162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>
                <a:latin typeface="Arial" pitchFamily="34" charset="0"/>
                <a:cs typeface="Arial" pitchFamily="34" charset="0"/>
              </a:rPr>
              <a:t>(+7,5%)</a:t>
            </a:r>
          </a:p>
        </p:txBody>
      </p:sp>
      <p:sp>
        <p:nvSpPr>
          <p:cNvPr id="35" name="Textfeld 28"/>
          <p:cNvSpPr txBox="1">
            <a:spLocks noChangeArrowheads="1"/>
          </p:cNvSpPr>
          <p:nvPr/>
        </p:nvSpPr>
        <p:spPr bwMode="auto">
          <a:xfrm>
            <a:off x="1557650" y="4412179"/>
            <a:ext cx="8162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>
                <a:latin typeface="Arial" pitchFamily="34" charset="0"/>
                <a:cs typeface="Arial" pitchFamily="34" charset="0"/>
              </a:rPr>
              <a:t>(+3,4%)</a:t>
            </a:r>
          </a:p>
        </p:txBody>
      </p:sp>
      <p:sp>
        <p:nvSpPr>
          <p:cNvPr id="36" name="Textfeld 29"/>
          <p:cNvSpPr txBox="1">
            <a:spLocks noChangeArrowheads="1"/>
          </p:cNvSpPr>
          <p:nvPr/>
        </p:nvSpPr>
        <p:spPr bwMode="auto">
          <a:xfrm>
            <a:off x="3699508" y="2197776"/>
            <a:ext cx="8162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>
                <a:latin typeface="Arial" pitchFamily="34" charset="0"/>
                <a:cs typeface="Arial" pitchFamily="34" charset="0"/>
              </a:rPr>
              <a:t>(+3,9%)</a:t>
            </a:r>
          </a:p>
        </p:txBody>
      </p:sp>
      <p:sp>
        <p:nvSpPr>
          <p:cNvPr id="62" name="Rectangle 4"/>
          <p:cNvSpPr>
            <a:spLocks noChangeArrowheads="1"/>
          </p:cNvSpPr>
          <p:nvPr/>
        </p:nvSpPr>
        <p:spPr bwMode="gray">
          <a:xfrm>
            <a:off x="5512660" y="1767397"/>
            <a:ext cx="332349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Umsatzverteilung des Versandhandels nach Segmenten (in Tsd. Euro)</a:t>
            </a:r>
          </a:p>
          <a:p>
            <a:pPr algn="ctr"/>
            <a:endParaRPr lang="de-DE" sz="1400" b="1" dirty="0">
              <a:solidFill>
                <a:schemeClr val="accent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4"/>
          <p:cNvSpPr>
            <a:spLocks noChangeArrowheads="1"/>
          </p:cNvSpPr>
          <p:nvPr/>
        </p:nvSpPr>
        <p:spPr bwMode="gray">
          <a:xfrm>
            <a:off x="1776934" y="1766889"/>
            <a:ext cx="33422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Umsatz in Mio. Euro</a:t>
            </a:r>
          </a:p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Veränderung </a:t>
            </a:r>
            <a:r>
              <a:rPr lang="de-DE" sz="1400" b="1" dirty="0" err="1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ggü</a:t>
            </a:r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. Vorjahr</a:t>
            </a:r>
          </a:p>
        </p:txBody>
      </p:sp>
      <p:sp>
        <p:nvSpPr>
          <p:cNvPr id="64" name="Rechteck 63"/>
          <p:cNvSpPr/>
          <p:nvPr/>
        </p:nvSpPr>
        <p:spPr>
          <a:xfrm>
            <a:off x="5451236" y="5114557"/>
            <a:ext cx="788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eaLnBrk="0" hangingPunct="0"/>
            <a:fld id="{1DE51757-DAF8-468A-BCF6-02B2A962C756}" type="datetime'''''''''''O''''''T''''''C'''''''''''">
              <a:rPr lang="en-US" sz="1400">
                <a:latin typeface="Arial"/>
                <a:cs typeface="Arial"/>
                <a:sym typeface="Arial"/>
              </a:rPr>
              <a:pPr algn="r" eaLnBrk="0" hangingPunct="0"/>
              <a:t>OTC</a:t>
            </a:fld>
            <a:r>
              <a:rPr lang="en-US" sz="1400" dirty="0">
                <a:latin typeface="Arial"/>
                <a:cs typeface="Arial"/>
                <a:sym typeface="Arial"/>
              </a:rPr>
              <a:t>*</a:t>
            </a:r>
            <a:endParaRPr lang="de-DE" sz="1400" dirty="0"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83570870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5926270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Folie" r:id="rId20" imgW="360" imgH="360" progId="TCLayout.ActiveDocument.1">
                  <p:embed/>
                </p:oleObj>
              </mc:Choice>
              <mc:Fallback>
                <p:oleObj name="think-cell Folie" r:id="rId20" imgW="360" imgH="360" progId="TCLayout.ActiveDocument.1">
                  <p:embed/>
                  <p:pic>
                    <p:nvPicPr>
                      <p:cNvPr id="6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hteck 37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sz="1600" dirty="0"/>
              <a:t>Jahr 2018: OTC-Markt Apotheke (OTC-Arznei-/Gesundheitsmittel, Apothekenkosmetik, Medizinischer Sachbedarf, Ernährung), Absatz in Packungen </a:t>
            </a:r>
            <a:br>
              <a:rPr lang="de-DE" sz="1600" dirty="0"/>
            </a:br>
            <a:endParaRPr lang="de-DE" sz="1600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sz="1800" dirty="0"/>
              <a:t>Abbildung 2: Absatzsteigerung des Apotheken-Versandhandels mit rezeptfreien Produkten im mittleren einstelligen Bereich</a:t>
            </a:r>
          </a:p>
        </p:txBody>
      </p:sp>
      <p:graphicFrame>
        <p:nvGraphicFramePr>
          <p:cNvPr id="45" name="Chart 3">
            <a:extLst>
              <a:ext uri="{FF2B5EF4-FFF2-40B4-BE49-F238E27FC236}">
                <a16:creationId xmlns:a16="http://schemas.microsoft.com/office/drawing/2014/main" id="{69FE6389-AAA1-4B37-8895-FCAD045ECD8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15748719"/>
              </p:ext>
            </p:extLst>
          </p:nvPr>
        </p:nvGraphicFramePr>
        <p:xfrm>
          <a:off x="2171700" y="2411413"/>
          <a:ext cx="2574925" cy="3382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6" name="Rechteck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28712" y="2608263"/>
            <a:ext cx="118268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A45A11B8-D5CB-45A3-8CE0-B314DBE788D7}" type="datetime'''''Versa''n''d''h''''''''''''''''''''''an''d''''''el'">
              <a:rPr lang="en-US" sz="1400">
                <a:latin typeface="Arial"/>
                <a:cs typeface="Arial"/>
                <a:sym typeface="Arial"/>
              </a:rPr>
              <a:pPr algn="r" eaLnBrk="0" hangingPunct="0"/>
              <a:t>Versandhandel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19" name="Rechteck 1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284538" y="2608263"/>
            <a:ext cx="3460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EB1544CD-B8D7-4E1F-A4DA-26BA6CEE7847}" type="datetime'''1''''7''''''''''''''''''0'''''''''''''''">
              <a:rPr lang="en-US" altLang="en-US" sz="1400" smtClean="0">
                <a:solidFill>
                  <a:srgbClr val="FFFFFF"/>
                </a:solidFill>
                <a:cs typeface="Arial" panose="020B0604020202020204" pitchFamily="34" charset="0"/>
              </a:rPr>
              <a:pPr algn="ctr" eaLnBrk="0" hangingPunct="0"/>
              <a:t>170</a:t>
            </a:fld>
            <a:endParaRPr lang="de-DE" sz="1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Rechteck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11513" y="4216400"/>
            <a:ext cx="493713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6570E939-1167-435C-A4EA-913DCA232947}" type="datetime'''''''''''''''1''''''''''''.''''''''''0''''6''''''6''''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</a:rPr>
              <a:pPr algn="ctr" eaLnBrk="0" hangingPunct="0"/>
              <a:t>1.066</a:t>
            </a:fld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hteck 1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811338" y="4216400"/>
            <a:ext cx="500063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algn="r" eaLnBrk="0" hangingPunct="0"/>
            <a:fld id="{6011B806-8ADE-489E-8136-6D55A21777E3}" type="datetime'''''''''''O''''f''''f''i''''z''''''''''i''''''''''n'''''">
              <a:rPr lang="en-US" sz="1400">
                <a:latin typeface="Arial"/>
                <a:cs typeface="Arial"/>
                <a:sym typeface="Arial"/>
              </a:rPr>
              <a:pPr algn="r" eaLnBrk="0" hangingPunct="0"/>
              <a:t>Offizin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17" name="Rechteck 2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211513" y="2255838"/>
            <a:ext cx="493713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b"/>
          <a:lstStyle/>
          <a:p>
            <a:pPr algn="ctr" eaLnBrk="0" hangingPunct="0"/>
            <a:fld id="{C20C4FFC-2371-4645-9C9F-304704934861}" type="datetime'''''''1''''''''''''''''.''''2''''''3''''5'''''''''">
              <a:rPr lang="en-US" altLang="en-US" sz="1400" b="1" smtClean="0">
                <a:cs typeface="Arial" panose="020B0604020202020204" pitchFamily="34" charset="0"/>
              </a:rPr>
              <a:pPr algn="ctr" eaLnBrk="0" hangingPunct="0"/>
              <a:t>1.235</a:t>
            </a:fld>
            <a:endParaRPr lang="de-DE" sz="1400" b="1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47" name="Chart 3">
            <a:extLst>
              <a:ext uri="{FF2B5EF4-FFF2-40B4-BE49-F238E27FC236}">
                <a16:creationId xmlns:a16="http://schemas.microsoft.com/office/drawing/2014/main" id="{71BB73D6-8269-4E47-8E7E-5236F54EB9EA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64911614"/>
              </p:ext>
            </p:extLst>
          </p:nvPr>
        </p:nvGraphicFramePr>
        <p:xfrm>
          <a:off x="5789613" y="2543175"/>
          <a:ext cx="3157537" cy="3157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30" name="Rechteck 3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8358188" y="3848100"/>
            <a:ext cx="493713" cy="425450"/>
          </a:xfrm>
          <a:prstGeom prst="rect">
            <a:avLst/>
          </a:prstGeom>
          <a:solidFill>
            <a:srgbClr val="3F5765"/>
          </a:solidFill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BC781107-6893-4B9F-8F4F-F728C40B0A15}" type="datetime'''2''''''''''''''.''''''''6''''''''2''''''''1'''''''''''''''''">
              <a:rPr lang="en-US" altLang="en-US" sz="1400" smtClean="0">
                <a:solidFill>
                  <a:srgbClr val="FFFFFF"/>
                </a:solidFill>
                <a:cs typeface="Arial" panose="020B0604020202020204" pitchFamily="34" charset="0"/>
              </a:rPr>
              <a:pPr algn="ctr" eaLnBrk="0" hangingPunct="0"/>
              <a:t>2.621</a:t>
            </a:fld>
            <a:endParaRPr lang="de-DE" sz="14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>
                <a:solidFill>
                  <a:srgbClr val="FFFFFF"/>
                </a:solidFill>
                <a:latin typeface="Arial"/>
                <a:cs typeface="Arial"/>
                <a:sym typeface="Arial"/>
              </a:rPr>
              <a:t>(</a:t>
            </a:r>
            <a:fld id="{E83B58F4-50BE-4730-A0E4-B0B5B6149BB9}" type="datetime'''''''''''''''''''''2%'''''''''''">
              <a:rPr lang="en-US" sz="1400">
                <a:solidFill>
                  <a:srgbClr val="FFFFFF"/>
                </a:solidFill>
                <a:latin typeface="Arial"/>
                <a:cs typeface="Arial"/>
                <a:sym typeface="Arial"/>
              </a:rPr>
              <a:pPr algn="ctr" eaLnBrk="0" hangingPunct="0"/>
              <a:t>2%</a:t>
            </a:fld>
            <a:r>
              <a:rPr lang="de-DE" sz="1400">
                <a:solidFill>
                  <a:srgbClr val="FFFFFF"/>
                </a:solidFill>
                <a:latin typeface="Arial"/>
                <a:cs typeface="Arial"/>
                <a:sym typeface="Arial"/>
              </a:rPr>
              <a:t>)</a:t>
            </a:r>
          </a:p>
        </p:txBody>
      </p:sp>
      <p:sp>
        <p:nvSpPr>
          <p:cNvPr id="29" name="Rechteck 2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913813" y="3857625"/>
            <a:ext cx="827088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E8153F22-2526-408A-AF3D-4C6BCF55B7AD}" type="datetime'E''r''''''''''n''''''''''''''''''''''ähr''''''un''''''''''''g'">
              <a:rPr lang="en-US" sz="1400">
                <a:latin typeface="Arial"/>
                <a:cs typeface="Arial"/>
                <a:sym typeface="Arial"/>
              </a:rPr>
              <a:pPr eaLnBrk="0" hangingPunct="0"/>
              <a:t>Ernährung</a:t>
            </a:fld>
            <a:endParaRPr lang="de-DE" sz="1400">
              <a:latin typeface="Arial"/>
              <a:cs typeface="Arial"/>
              <a:sym typeface="Arial"/>
            </a:endParaRPr>
          </a:p>
        </p:txBody>
      </p:sp>
      <p:sp>
        <p:nvSpPr>
          <p:cNvPr id="26" name="Rechteck 3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143625" y="4572000"/>
            <a:ext cx="690563" cy="4254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46FFD837-8A8B-48A1-BB58-C60B8D935860}" type="datetime'''1''3''''''''''4''''''.''''''''''''61''''''''''7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</a:rPr>
              <a:pPr algn="ctr" eaLnBrk="0" hangingPunct="0"/>
              <a:t>134.617</a:t>
            </a:fld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332754E3-4972-4D1F-A933-B3C4DE0551F0}" type="datetime'''''''''''''''''''''7''''''''9''''''''''''%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/>
              <a:t>79%</a:t>
            </a:fld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  <a:endParaRPr lang="de-DE" sz="14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Rechteck 3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623175" y="2825750"/>
            <a:ext cx="493713" cy="425450"/>
          </a:xfrm>
          <a:prstGeom prst="rect">
            <a:avLst/>
          </a:prstGeom>
          <a:solidFill>
            <a:schemeClr val="accent6"/>
          </a:solidFill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33D97618-D416-4011-95CF-9A336E675C6A}" type="datetime'''''''''8''.''''''''''''''''''4''''3''''''''8''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</a:rPr>
              <a:pPr algn="ctr" eaLnBrk="0" hangingPunct="0"/>
              <a:t>8.438</a:t>
            </a:fld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93BE9243-A525-426D-B712-4E60FF34B4E4}" type="datetime'5''''''''''''''''''''''%'''''''''''''">
              <a:rPr lang="en-US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pPr algn="ctr" eaLnBrk="0" hangingPunct="0"/>
              <a:t>5%</a:t>
            </a:fld>
            <a:r>
              <a:rPr lang="de-DE" sz="1400" dirty="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</a:p>
        </p:txBody>
      </p:sp>
      <p:sp>
        <p:nvSpPr>
          <p:cNvPr id="23" name="Rechteck 3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712075" y="2427288"/>
            <a:ext cx="13493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048743C6-2633-46A0-A135-0E1C93EE30BE}" type="datetime'''''''M''''e''''d.'' S''''''''''''''''''''achb''''''ed''arf'''">
              <a:rPr lang="en-US" sz="1400">
                <a:latin typeface="Arial"/>
                <a:cs typeface="Arial"/>
                <a:sym typeface="Arial"/>
              </a:rPr>
              <a:pPr eaLnBrk="0" hangingPunct="0"/>
              <a:t>Med. Sachbedarf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22" name="Rechteck 36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8051800" y="3322638"/>
            <a:ext cx="592138" cy="42545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5400" tIns="0" rIns="25400" bIns="0" anchor="ctr"/>
          <a:lstStyle/>
          <a:p>
            <a:pPr algn="ctr" eaLnBrk="0" hangingPunct="0"/>
            <a:fld id="{00F06EE7-6F69-4300-B176-9DF3BB7CAA1D}" type="datetime'''2''''''''3.''8''''''''''''''''''''4''''''''''''''9'">
              <a:rPr lang="en-US" altLang="en-US" sz="1400" smtClean="0">
                <a:solidFill>
                  <a:schemeClr val="bg1"/>
                </a:solidFill>
                <a:cs typeface="Arial" panose="020B0604020202020204" pitchFamily="34" charset="0"/>
              </a:rPr>
              <a:pPr algn="ctr" eaLnBrk="0" hangingPunct="0"/>
              <a:t>23.849</a:t>
            </a:fld>
            <a:endParaRPr lang="de-DE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 algn="ctr" eaLnBrk="0" hangingPunct="0"/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(</a:t>
            </a:r>
            <a:fld id="{2FB0EE3E-540F-4E40-8C7C-FE321F4910B6}" type="datetime'''''''''1''''4''''''''%'''''''''''''''''''''''''''''''">
              <a:rPr lang="en-US" altLang="en-US" sz="1400">
                <a:solidFill>
                  <a:schemeClr val="bg1"/>
                </a:solidFill>
                <a:cs typeface="Arial" panose="020B0604020202020204" pitchFamily="34" charset="0"/>
              </a:rPr>
              <a:pPr/>
              <a:t>14%</a:t>
            </a:fld>
            <a:r>
              <a:rPr lang="de-DE" sz="1400">
                <a:solidFill>
                  <a:schemeClr val="bg1"/>
                </a:solidFill>
                <a:latin typeface="Arial"/>
                <a:cs typeface="Arial"/>
                <a:sym typeface="Arial"/>
              </a:rPr>
              <a:t>)</a:t>
            </a:r>
          </a:p>
        </p:txBody>
      </p:sp>
      <p:sp>
        <p:nvSpPr>
          <p:cNvPr id="21" name="Rechteck 3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531225" y="2914650"/>
            <a:ext cx="1946275" cy="2127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eaLnBrk="0" hangingPunct="0"/>
            <a:fld id="{9177D113-F6C3-4CD4-9D91-5D07DB748922}" type="datetime'''Kosm''e''ti''k +'''' Kö''''rpe''''''r''''''pf''''le''ge'">
              <a:rPr lang="en-US" sz="1400">
                <a:latin typeface="Arial"/>
                <a:cs typeface="Arial"/>
                <a:sym typeface="Arial"/>
              </a:rPr>
              <a:pPr eaLnBrk="0" hangingPunct="0"/>
              <a:t>Kosmetik + Körperpflege</a:t>
            </a:fld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31" name="Rectangle 4"/>
          <p:cNvSpPr>
            <a:spLocks noChangeArrowheads="1"/>
          </p:cNvSpPr>
          <p:nvPr/>
        </p:nvSpPr>
        <p:spPr bwMode="gray">
          <a:xfrm>
            <a:off x="5735960" y="1766889"/>
            <a:ext cx="332349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bsatzverteilung des Versandhandels nach Segmenten (in Tsd. Packungen)</a:t>
            </a:r>
          </a:p>
        </p:txBody>
      </p:sp>
      <p:cxnSp>
        <p:nvCxnSpPr>
          <p:cNvPr id="32" name="Gerade Verbindung 41"/>
          <p:cNvCxnSpPr>
            <a:cxnSpLocks noChangeShapeType="1"/>
          </p:cNvCxnSpPr>
          <p:nvPr/>
        </p:nvCxnSpPr>
        <p:spPr bwMode="auto">
          <a:xfrm>
            <a:off x="4457700" y="2905125"/>
            <a:ext cx="1687513" cy="209550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33" name="Gerade Verbindung 28"/>
          <p:cNvCxnSpPr>
            <a:cxnSpLocks noChangeShapeType="1"/>
          </p:cNvCxnSpPr>
          <p:nvPr/>
        </p:nvCxnSpPr>
        <p:spPr bwMode="auto">
          <a:xfrm>
            <a:off x="4457700" y="2514403"/>
            <a:ext cx="2790429" cy="122509"/>
          </a:xfrm>
          <a:prstGeom prst="line">
            <a:avLst/>
          </a:prstGeom>
          <a:noFill/>
          <a:ln w="317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34" name="Textfeld 27"/>
          <p:cNvSpPr txBox="1">
            <a:spLocks noChangeArrowheads="1"/>
          </p:cNvSpPr>
          <p:nvPr/>
        </p:nvSpPr>
        <p:spPr bwMode="auto">
          <a:xfrm>
            <a:off x="1503953" y="2806533"/>
            <a:ext cx="8162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>
                <a:latin typeface="Arial" pitchFamily="34" charset="0"/>
                <a:cs typeface="Arial" pitchFamily="34" charset="0"/>
              </a:rPr>
              <a:t>(+5,8%)</a:t>
            </a:r>
          </a:p>
        </p:txBody>
      </p:sp>
      <p:sp>
        <p:nvSpPr>
          <p:cNvPr id="35" name="Textfeld 28"/>
          <p:cNvSpPr txBox="1">
            <a:spLocks noChangeArrowheads="1"/>
          </p:cNvSpPr>
          <p:nvPr/>
        </p:nvSpPr>
        <p:spPr bwMode="auto">
          <a:xfrm>
            <a:off x="1657127" y="4450169"/>
            <a:ext cx="8162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>
                <a:latin typeface="Arial" pitchFamily="34" charset="0"/>
                <a:cs typeface="Arial" pitchFamily="34" charset="0"/>
              </a:rPr>
              <a:t>(+1,2%)</a:t>
            </a:r>
          </a:p>
        </p:txBody>
      </p:sp>
      <p:sp>
        <p:nvSpPr>
          <p:cNvPr id="36" name="Textfeld 29"/>
          <p:cNvSpPr txBox="1">
            <a:spLocks noChangeArrowheads="1"/>
          </p:cNvSpPr>
          <p:nvPr/>
        </p:nvSpPr>
        <p:spPr bwMode="auto">
          <a:xfrm>
            <a:off x="3681394" y="2206626"/>
            <a:ext cx="81624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400" dirty="0">
                <a:latin typeface="Arial" pitchFamily="34" charset="0"/>
                <a:cs typeface="Arial" pitchFamily="34" charset="0"/>
              </a:rPr>
              <a:t>(+1,8%)</a:t>
            </a:r>
          </a:p>
        </p:txBody>
      </p:sp>
      <p:sp>
        <p:nvSpPr>
          <p:cNvPr id="37" name="Rectangle 4"/>
          <p:cNvSpPr>
            <a:spLocks noChangeArrowheads="1"/>
          </p:cNvSpPr>
          <p:nvPr/>
        </p:nvSpPr>
        <p:spPr bwMode="gray">
          <a:xfrm>
            <a:off x="1776934" y="1777619"/>
            <a:ext cx="334226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Absatz in Mio. Packungen</a:t>
            </a:r>
          </a:p>
          <a:p>
            <a:pPr algn="ctr"/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Veränderung </a:t>
            </a:r>
            <a:r>
              <a:rPr lang="de-DE" sz="1400" b="1" dirty="0" err="1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ggü</a:t>
            </a:r>
            <a:r>
              <a:rPr lang="de-DE" sz="1400" b="1" dirty="0">
                <a:solidFill>
                  <a:schemeClr val="accent2"/>
                </a:solidFill>
                <a:latin typeface="Arial" pitchFamily="34" charset="0"/>
                <a:cs typeface="Arial" pitchFamily="34" charset="0"/>
              </a:rPr>
              <a:t>. Vorjahr</a:t>
            </a:r>
          </a:p>
        </p:txBody>
      </p:sp>
      <p:sp>
        <p:nvSpPr>
          <p:cNvPr id="44" name="Rechteck 43"/>
          <p:cNvSpPr/>
          <p:nvPr/>
        </p:nvSpPr>
        <p:spPr>
          <a:xfrm>
            <a:off x="5451236" y="5114557"/>
            <a:ext cx="78878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eaLnBrk="0" hangingPunct="0"/>
            <a:fld id="{1DE51757-DAF8-468A-BCF6-02B2A962C756}" type="datetime'''''''''''O''''''T''''''C'''''''''''">
              <a:rPr lang="en-US" sz="1400">
                <a:latin typeface="Arial"/>
                <a:cs typeface="Arial"/>
                <a:sym typeface="Arial"/>
              </a:rPr>
              <a:pPr algn="r" eaLnBrk="0" hangingPunct="0"/>
              <a:t>OTC</a:t>
            </a:fld>
            <a:r>
              <a:rPr lang="en-US" sz="1400" dirty="0">
                <a:latin typeface="Arial"/>
                <a:cs typeface="Arial"/>
                <a:sym typeface="Arial"/>
              </a:rPr>
              <a:t>*</a:t>
            </a:r>
            <a:endParaRPr lang="de-DE" sz="1400" dirty="0">
              <a:latin typeface="Arial"/>
              <a:cs typeface="Arial"/>
              <a:sym typeface="Arial"/>
            </a:endParaRPr>
          </a:p>
        </p:txBody>
      </p:sp>
      <p:sp>
        <p:nvSpPr>
          <p:cNvPr id="39" name="Footer Placeholder 7">
            <a:extLst>
              <a:ext uri="{FF2B5EF4-FFF2-40B4-BE49-F238E27FC236}">
                <a16:creationId xmlns:a16="http://schemas.microsoft.com/office/drawing/2014/main" id="{1FBF5CD4-7B15-465F-8990-27FF4D3F7F2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de-DE" dirty="0"/>
              <a:t>© 2019, IQVIA Commercial GmbH &amp; Co. OHG</a:t>
            </a: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1A71142B-334D-44D7-9A02-635CE06891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4693" y="5858029"/>
            <a:ext cx="8780190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Quelle: IQVIA Apothekenstichprobe und Hochrechnung/Projektion, </a:t>
            </a:r>
            <a:r>
              <a:rPr lang="de-DE" sz="1000" dirty="0">
                <a:latin typeface="Arial" pitchFamily="34" charset="0"/>
                <a:cs typeface="Arial" pitchFamily="34" charset="0"/>
                <a:sym typeface="Arial"/>
              </a:rPr>
              <a:t>IMS</a:t>
            </a:r>
            <a:r>
              <a:rPr lang="de-DE" sz="1000" baseline="30000" dirty="0">
                <a:latin typeface="Arial" pitchFamily="34" charset="0"/>
                <a:cs typeface="Arial" pitchFamily="34" charset="0"/>
                <a:sym typeface="Arial"/>
              </a:rPr>
              <a:t>®</a:t>
            </a:r>
            <a:r>
              <a:rPr lang="de-DE" sz="1000" dirty="0">
                <a:latin typeface="Arial" pitchFamily="34" charset="0"/>
                <a:cs typeface="Arial" pitchFamily="34" charset="0"/>
                <a:sym typeface="Arial"/>
              </a:rPr>
              <a:t> </a:t>
            </a:r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onsumer Health Analytics, Cube 2330</a:t>
            </a:r>
          </a:p>
          <a:p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* OTC = </a:t>
            </a:r>
            <a:r>
              <a:rPr lang="de-DE" sz="1000" dirty="0" err="1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over</a:t>
            </a:r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000" dirty="0" err="1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counter</a:t>
            </a:r>
            <a:r>
              <a:rPr lang="de-DE" sz="1000" dirty="0">
                <a:solidFill>
                  <a:srgbClr val="262626"/>
                </a:solidFill>
                <a:latin typeface="Arial" pitchFamily="34" charset="0"/>
                <a:cs typeface="Arial" pitchFamily="34" charset="0"/>
              </a:rPr>
              <a:t> = rezeptfrei / hier inkl. Nichtarzneimittel (OTCGMS, PEC, PAC, Nutrition)</a:t>
            </a:r>
            <a:endParaRPr lang="en-US" sz="10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  <a:p>
            <a:endParaRPr lang="de-DE" sz="1000" dirty="0">
              <a:solidFill>
                <a:srgbClr val="26262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559965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Oblb45C02N_3ZS.Oln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5PgyEXs0Wj3fzLxsCf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3ybgL9b0ap5ujMyCyA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rZRu1BQgKNNC9Ymqpb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XNYBfdZ0CBU7uPRuwo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ev1VQ50e7pdPMgJpu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qWG0ekU60OuOXAze8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yobx3DuUaAdL5pKwm8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znJwxx1EmX3LCRTiGf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234ZtU70ChjGDsotiU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3uu.qtT0evEzh7aWPI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w.imsEKUWYAoFV3Lzg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BLtyHrR3uLkAXMvMyf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Oblb45C02N_3ZS.OlnQ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GnefrVYkOrpzIXa.AR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yo.JwdU6c3dpEuV1B6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5PgyEXs0Wj3fzLxsCf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3ybgL9b0ap5ujMyCyAN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rfb24sQPK5VEnR1G42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XNYBfdZ0CBU7uPRuwo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ev1VQ50e7pdPMgJpu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yobx3DuUaAdL5pKwm8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qqWG0ekU60OuOXAze8c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znJwxx1EmX3LCRTiGf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234ZtU70ChjGDsotiU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3uu.qtT0evEzh7aWPI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w.imsEKUWYAoFV3Lzg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DXKUO0RLmesJE8DW5D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pyo.JwdU6c3dpEuV1B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GnefrVYkOrpzIXa.ARMw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5</Words>
  <Application>Microsoft Office PowerPoint</Application>
  <PresentationFormat>Breitbild</PresentationFormat>
  <Paragraphs>57</Paragraphs>
  <Slides>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8" baseType="lpstr">
      <vt:lpstr>Arial</vt:lpstr>
      <vt:lpstr>Arial Narrow</vt:lpstr>
      <vt:lpstr>Georgia</vt:lpstr>
      <vt:lpstr>Wingdings</vt:lpstr>
      <vt:lpstr>IQVIATemplate_WS_25Oct2017</vt:lpstr>
      <vt:lpstr>think-cell Folie</vt:lpstr>
      <vt:lpstr>Abbildung 1: Umsatzsteigerung des Apotheken-Versandhandels mit rezeptfreien Produkten im höheren einstelligen Bereich</vt:lpstr>
      <vt:lpstr>Abbildung 2: Absatzsteigerung des Apotheken-Versandhandels mit rezeptfreien Produkten im mittleren einstelligen Bereic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bildung 1: Zweistellige Umsatzsteigerung des Apotheken-Versandhandels mit rezeptfreien Produkten in 2017</dc:title>
  <dc:creator>Koehnke, Kristin</dc:creator>
  <cp:lastModifiedBy>Maag, Gisela</cp:lastModifiedBy>
  <cp:revision>9</cp:revision>
  <cp:lastPrinted>2017-10-20T15:11:52Z</cp:lastPrinted>
  <dcterms:created xsi:type="dcterms:W3CDTF">2018-06-12T08:58:55Z</dcterms:created>
  <dcterms:modified xsi:type="dcterms:W3CDTF">2019-06-25T12:06:57Z</dcterms:modified>
</cp:coreProperties>
</file>